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95" r:id="rId2"/>
    <p:sldId id="351" r:id="rId3"/>
    <p:sldId id="296" r:id="rId4"/>
    <p:sldId id="340" r:id="rId5"/>
    <p:sldId id="313" r:id="rId6"/>
    <p:sldId id="348" r:id="rId7"/>
    <p:sldId id="349" r:id="rId8"/>
    <p:sldId id="350" r:id="rId9"/>
    <p:sldId id="304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E0BC"/>
    <a:srgbClr val="105B97"/>
    <a:srgbClr val="F3BE21"/>
    <a:srgbClr val="7BA681"/>
    <a:srgbClr val="28402F"/>
    <a:srgbClr val="FF58D4"/>
    <a:srgbClr val="F4AD69"/>
    <a:srgbClr val="4984C5"/>
    <a:srgbClr val="138C60"/>
    <a:srgbClr val="FFC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43" autoAdjust="0"/>
    <p:restoredTop sz="94966" autoAdjust="0"/>
  </p:normalViewPr>
  <p:slideViewPr>
    <p:cSldViewPr snapToGrid="0" showGuides="1">
      <p:cViewPr varScale="1">
        <p:scale>
          <a:sx n="70" d="100"/>
          <a:sy n="70" d="100"/>
        </p:scale>
        <p:origin x="603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04/07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04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auxel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539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na Shvets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80616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Sebastia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errman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14352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FCAA5719-72E1-F54F-9475-F15171C86A5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7EDE94-FB85-7C44-A38F-ADEB90D24B76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A9EA7B-7BD1-8E44-8A4C-83B5D10043D3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3E71B9F6-B0B2-964C-903A-DC5DC4C680A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D5C0F1-7C63-BC45-82EE-3C25BA50ABD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4DACEC-5A5E-D94F-B878-72C0C1630BB0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52F5E379-5EC4-234C-8BBE-A15ACB46EEC9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E3DD0-7825-B144-BC64-571C113D0E1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FC8156-8138-5448-BB38-976B0ABA3C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8500648E-B502-B643-AD99-9E8C17088B7B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627C5C-60F9-E544-9376-E5D8F1C4E062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DFE1C0-BEF6-9341-9AF6-FBD336956BF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12CEE3DC-2A9B-F44E-B352-BDFBC37D9878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9D7BB-88A3-5A48-ABC4-A9E1756C975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06225-87D6-E846-BACD-F3559A2AD7F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7D9C00D1-0AB6-BD4A-934C-AAE20028C755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5FEA8A-84D7-0A48-A4C0-92E3BFB183D5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162AB7-F807-1F49-9A00-EFC0C115F46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1C13C889-96E7-F04E-8EF8-880DDD6EEDDF}"/>
              </a:ext>
            </a:extLst>
          </p:cNvPr>
          <p:cNvSpPr/>
          <p:nvPr userDrawn="1"/>
        </p:nvSpPr>
        <p:spPr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D" sz="2400" b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3C30B8-9697-B04A-8F45-15EA715AEB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1A445E-F6FA-CB46-9487-31F25F904A26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loyee Benefits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403550C-D6E4-DB4E-9823-1E61D6B95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0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>
            <a:extLst>
              <a:ext uri="{FF2B5EF4-FFF2-40B4-BE49-F238E27FC236}">
                <a16:creationId xmlns:a16="http://schemas.microsoft.com/office/drawing/2014/main" id="{FC58DAE2-400C-B9BE-13FB-5D3250E4FFE5}"/>
              </a:ext>
            </a:extLst>
          </p:cNvPr>
          <p:cNvSpPr/>
          <p:nvPr/>
        </p:nvSpPr>
        <p:spPr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6600" dirty="0"/>
              <a:t>We are </a:t>
            </a:r>
            <a:r>
              <a:rPr lang="en-US" altLang="zh-CN" sz="6600" dirty="0" err="1"/>
              <a:t>mustrust</a:t>
            </a:r>
            <a:r>
              <a:rPr lang="en-US" altLang="zh-CN" sz="6600" dirty="0"/>
              <a:t>!</a:t>
            </a:r>
            <a:endParaRPr lang="en-US" sz="6600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A445715-3FB7-4C19-0061-9F750487D7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AA9381C5-A07A-C28F-866C-5C2D35E13BAE}"/>
              </a:ext>
            </a:extLst>
          </p:cNvPr>
          <p:cNvSpPr/>
          <p:nvPr/>
        </p:nvSpPr>
        <p:spPr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8" name="Picture 2" descr="Rust Logo PNG Vector (SVG) Free Download">
            <a:extLst>
              <a:ext uri="{FF2B5EF4-FFF2-40B4-BE49-F238E27FC236}">
                <a16:creationId xmlns:a16="http://schemas.microsoft.com/office/drawing/2014/main" id="{604B96AE-8E69-5C92-3C9B-9EF357E28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MMU letter logo design in illustration. Vector logo, calligraphy ...">
            <a:extLst>
              <a:ext uri="{FF2B5EF4-FFF2-40B4-BE49-F238E27FC236}">
                <a16:creationId xmlns:a16="http://schemas.microsoft.com/office/drawing/2014/main" id="{C6E50C1E-322E-61C0-4CF0-A210FEB28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9FB4490-3491-EC4D-837D-D10C6817A318}"/>
              </a:ext>
            </a:extLst>
          </p:cNvPr>
          <p:cNvSpPr txBox="1"/>
          <p:nvPr/>
        </p:nvSpPr>
        <p:spPr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3924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CAB3A17A-5CF8-C331-BD58-8BD559366295}"/>
              </a:ext>
            </a:extLst>
          </p:cNvPr>
          <p:cNvSpPr txBox="1"/>
          <p:nvPr/>
        </p:nvSpPr>
        <p:spPr>
          <a:xfrm>
            <a:off x="523734" y="494310"/>
            <a:ext cx="609713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altLang="en-US" sz="4400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CF21449-94B8-B889-8F50-2F9114B3ED5E}"/>
              </a:ext>
            </a:extLst>
          </p:cNvPr>
          <p:cNvSpPr txBox="1"/>
          <p:nvPr/>
        </p:nvSpPr>
        <p:spPr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阎昶澍：组长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MMU</a:t>
            </a:r>
            <a:r>
              <a:rPr lang="zh-CN" altLang="en-US" dirty="0"/>
              <a:t>部分，交叉编译与上板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郭东昊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上板与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薄震宇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周翟恩和：组员，参与</a:t>
            </a:r>
            <a:r>
              <a:rPr lang="en-US" altLang="zh-CN" dirty="0"/>
              <a:t>Rust</a:t>
            </a:r>
            <a:r>
              <a:rPr lang="zh-CN" altLang="en-US" dirty="0"/>
              <a:t>改写，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王劲博：组员</a:t>
            </a:r>
          </a:p>
        </p:txBody>
      </p:sp>
    </p:spTree>
    <p:extLst>
      <p:ext uri="{BB962C8B-B14F-4D97-AF65-F5344CB8AC3E}">
        <p14:creationId xmlns:p14="http://schemas.microsoft.com/office/powerpoint/2010/main" val="3900432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F3009-EFF0-6345-AC24-8400A4A38F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679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49A1839-BBD0-3E49-9776-F43336F31826}"/>
              </a:ext>
            </a:extLst>
          </p:cNvPr>
          <p:cNvSpPr/>
          <p:nvPr/>
        </p:nvSpPr>
        <p:spPr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E6E6E40-8B95-4043-BD6A-C081432060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51" t="311" r="36430" b="2076"/>
          <a:stretch>
            <a:fillRect/>
          </a:stretch>
        </p:blipFill>
        <p:spPr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6FF3805-AB8C-BA41-BE95-987C72F54535}"/>
              </a:ext>
            </a:extLst>
          </p:cNvPr>
          <p:cNvSpPr/>
          <p:nvPr/>
        </p:nvSpPr>
        <p:spPr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376E1DA6-8AD4-744E-A2CB-F5980710C48E}"/>
              </a:ext>
            </a:extLst>
          </p:cNvPr>
          <p:cNvSpPr/>
          <p:nvPr/>
        </p:nvSpPr>
        <p:spPr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74F536E-3F80-2540-9037-90D52F5DA986}"/>
              </a:ext>
            </a:extLst>
          </p:cNvPr>
          <p:cNvCxnSpPr>
            <a:cxnSpLocks/>
          </p:cNvCxnSpPr>
          <p:nvPr/>
        </p:nvCxnSpPr>
        <p:spPr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4C67FA-9159-4246-A1F7-F42F4CDD5B61}"/>
              </a:ext>
            </a:extLst>
          </p:cNvPr>
          <p:cNvGrpSpPr/>
          <p:nvPr/>
        </p:nvGrpSpPr>
        <p:grpSpPr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C08418-799D-D648-A35A-EABFA271C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E115FC4-033F-D244-82CD-ED40BA612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975749B-779B-DD48-A2AC-AECD4D9DF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Line 8">
              <a:extLst>
                <a:ext uri="{FF2B5EF4-FFF2-40B4-BE49-F238E27FC236}">
                  <a16:creationId xmlns:a16="http://schemas.microsoft.com/office/drawing/2014/main" id="{9F2C2173-C7D4-D946-9A9F-31978202B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Line 9">
              <a:extLst>
                <a:ext uri="{FF2B5EF4-FFF2-40B4-BE49-F238E27FC236}">
                  <a16:creationId xmlns:a16="http://schemas.microsoft.com/office/drawing/2014/main" id="{D06918FF-1BAB-8749-93EF-59703D3EA5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Line 10">
              <a:extLst>
                <a:ext uri="{FF2B5EF4-FFF2-40B4-BE49-F238E27FC236}">
                  <a16:creationId xmlns:a16="http://schemas.microsoft.com/office/drawing/2014/main" id="{CD2F9424-28FD-E740-8897-5D8637559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DD35B99-EB86-AD43-ABFC-EBAC06D53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18F4CA2-9772-284F-81A0-D7A56940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9EF5972-0605-A445-990B-88151ACEA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Line 14">
              <a:extLst>
                <a:ext uri="{FF2B5EF4-FFF2-40B4-BE49-F238E27FC236}">
                  <a16:creationId xmlns:a16="http://schemas.microsoft.com/office/drawing/2014/main" id="{7E85EBF1-D1E4-CD4E-97FB-4F0411264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Line 15">
              <a:extLst>
                <a:ext uri="{FF2B5EF4-FFF2-40B4-BE49-F238E27FC236}">
                  <a16:creationId xmlns:a16="http://schemas.microsoft.com/office/drawing/2014/main" id="{F1886CFC-8971-8845-B105-BBDE32E95C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6BE5112-0A6A-CB44-BBD5-9E6BBB68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1A871772-68A5-A140-81EA-7BDE1E6EE049}"/>
              </a:ext>
            </a:extLst>
          </p:cNvPr>
          <p:cNvSpPr txBox="1">
            <a:spLocks/>
          </p:cNvSpPr>
          <p:nvPr/>
        </p:nvSpPr>
        <p:spPr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nt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9B7A70D-3071-D644-B198-7CF1618E2F65}"/>
              </a:ext>
            </a:extLst>
          </p:cNvPr>
          <p:cNvSpPr txBox="1">
            <a:spLocks/>
          </p:cNvSpPr>
          <p:nvPr/>
        </p:nvSpPr>
        <p:spPr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1A187F7-15F8-A543-B33B-ED117730EF01}"/>
              </a:ext>
            </a:extLst>
          </p:cNvPr>
          <p:cNvSpPr txBox="1">
            <a:spLocks/>
          </p:cNvSpPr>
          <p:nvPr/>
        </p:nvSpPr>
        <p:spPr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改写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09DCB6F-5CAB-4F4B-9D09-4019A7E989A6}"/>
              </a:ext>
            </a:extLst>
          </p:cNvPr>
          <p:cNvSpPr txBox="1">
            <a:spLocks/>
          </p:cNvSpPr>
          <p:nvPr/>
        </p:nvSpPr>
        <p:spPr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194D348-B9C0-D044-B1C8-E3F4140D1724}"/>
              </a:ext>
            </a:extLst>
          </p:cNvPr>
          <p:cNvSpPr txBox="1">
            <a:spLocks/>
          </p:cNvSpPr>
          <p:nvPr/>
        </p:nvSpPr>
        <p:spPr>
          <a:xfrm>
            <a:off x="6545525" y="3187338"/>
            <a:ext cx="240443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MU</a:t>
            </a:r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部分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6559FC0-949D-9A4D-AB73-8B1546769D48}"/>
              </a:ext>
            </a:extLst>
          </p:cNvPr>
          <p:cNvSpPr txBox="1">
            <a:spLocks/>
          </p:cNvSpPr>
          <p:nvPr/>
        </p:nvSpPr>
        <p:spPr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3600" i="1" dirty="0">
                <a:solidFill>
                  <a:srgbClr val="105B9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7DF73B7-1777-A448-886F-E6EA6685539E}"/>
              </a:ext>
            </a:extLst>
          </p:cNvPr>
          <p:cNvSpPr txBox="1">
            <a:spLocks/>
          </p:cNvSpPr>
          <p:nvPr/>
        </p:nvSpPr>
        <p:spPr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zh-CN" altLang="en-US" sz="3200" b="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交叉编译与上板</a:t>
            </a:r>
            <a:endParaRPr lang="en-US" sz="3200" b="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A93B0B-D38B-1149-A15D-571B2A004BDD}"/>
              </a:ext>
            </a:extLst>
          </p:cNvPr>
          <p:cNvCxnSpPr>
            <a:cxnSpLocks/>
          </p:cNvCxnSpPr>
          <p:nvPr/>
        </p:nvCxnSpPr>
        <p:spPr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DEA391E-C0BC-3543-A35A-4B681AC7817C}"/>
              </a:ext>
            </a:extLst>
          </p:cNvPr>
          <p:cNvCxnSpPr>
            <a:cxnSpLocks/>
          </p:cNvCxnSpPr>
          <p:nvPr/>
        </p:nvCxnSpPr>
        <p:spPr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015CC6D-62FC-E943-9183-37AC665660D6}"/>
              </a:ext>
            </a:extLst>
          </p:cNvPr>
          <p:cNvCxnSpPr>
            <a:cxnSpLocks/>
          </p:cNvCxnSpPr>
          <p:nvPr/>
        </p:nvCxnSpPr>
        <p:spPr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BE2E89F-E5E0-6C44-8321-2C30BE5326C5}"/>
              </a:ext>
            </a:extLst>
          </p:cNvPr>
          <p:cNvCxnSpPr>
            <a:cxnSpLocks/>
          </p:cNvCxnSpPr>
          <p:nvPr/>
        </p:nvCxnSpPr>
        <p:spPr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493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8F899C-3E97-52A8-2838-61B7DC9A2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5072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198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alt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0934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427AF5F-9A0E-42B7-A252-FD64C9885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31368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22F03-C087-3734-0E06-CAFB819D2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z="40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</a:t>
            </a:r>
            <a:endParaRPr lang="en-US" altLang="zh-CN" sz="4000" dirty="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6505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C03C51-E5DD-A54B-B481-FA6B5F9FA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86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626DDE89-87E6-AF48-A933-AD959BC8F1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0" r="13701" b="8889"/>
          <a:stretch/>
        </p:blipFill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9A69796B-72F8-C044-A15A-0F1030749EBD}"/>
              </a:ext>
            </a:extLst>
          </p:cNvPr>
          <p:cNvSpPr/>
          <p:nvPr/>
        </p:nvSpPr>
        <p:spPr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EE8BE9-D7E5-384F-AEBB-5D372D238617}"/>
              </a:ext>
            </a:extLst>
          </p:cNvPr>
          <p:cNvSpPr txBox="1">
            <a:spLocks/>
          </p:cNvSpPr>
          <p:nvPr/>
        </p:nvSpPr>
        <p:spPr>
          <a:xfrm>
            <a:off x="3878468" y="1905405"/>
            <a:ext cx="3266870" cy="243759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8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28FDBCC-24A0-E647-8D4A-D1724E394727}"/>
              </a:ext>
            </a:extLst>
          </p:cNvPr>
          <p:cNvSpPr/>
          <p:nvPr/>
        </p:nvSpPr>
        <p:spPr>
          <a:xfrm>
            <a:off x="0" y="2001435"/>
            <a:ext cx="2982686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5E254D-AEEA-9D43-A69A-2B75070F618D}"/>
              </a:ext>
            </a:extLst>
          </p:cNvPr>
          <p:cNvCxnSpPr>
            <a:cxnSpLocks/>
          </p:cNvCxnSpPr>
          <p:nvPr/>
        </p:nvCxnSpPr>
        <p:spPr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DC3061-ADB1-7B43-9E11-ED31B03BCF08}"/>
              </a:ext>
            </a:extLst>
          </p:cNvPr>
          <p:cNvGrpSpPr/>
          <p:nvPr/>
        </p:nvGrpSpPr>
        <p:grpSpPr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>
              <a:extLst>
                <a:ext uri="{FF2B5EF4-FFF2-40B4-BE49-F238E27FC236}">
                  <a16:creationId xmlns:a16="http://schemas.microsoft.com/office/drawing/2014/main" id="{2483138E-1E82-C448-9CCB-FADAEAD852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166">
              <a:extLst>
                <a:ext uri="{FF2B5EF4-FFF2-40B4-BE49-F238E27FC236}">
                  <a16:creationId xmlns:a16="http://schemas.microsoft.com/office/drawing/2014/main" id="{B966A6C4-17E9-544C-9A12-DB29790FF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925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167">
              <a:extLst>
                <a:ext uri="{FF2B5EF4-FFF2-40B4-BE49-F238E27FC236}">
                  <a16:creationId xmlns:a16="http://schemas.microsoft.com/office/drawing/2014/main" id="{286DAF92-E1A8-1647-A4B3-BD9299E76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888" y="2955925"/>
              <a:ext cx="30163" cy="30163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68">
              <a:extLst>
                <a:ext uri="{FF2B5EF4-FFF2-40B4-BE49-F238E27FC236}">
                  <a16:creationId xmlns:a16="http://schemas.microsoft.com/office/drawing/2014/main" id="{52AAF01F-6EF5-7247-A532-3A9DB7CF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169">
              <a:extLst>
                <a:ext uri="{FF2B5EF4-FFF2-40B4-BE49-F238E27FC236}">
                  <a16:creationId xmlns:a16="http://schemas.microsoft.com/office/drawing/2014/main" id="{7571C2FC-902F-234D-9247-645B26B8E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70">
              <a:extLst>
                <a:ext uri="{FF2B5EF4-FFF2-40B4-BE49-F238E27FC236}">
                  <a16:creationId xmlns:a16="http://schemas.microsoft.com/office/drawing/2014/main" id="{5E1BD925-8A18-2A4E-A35C-0A0BB399F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7AA0CA-D663-1044-839B-E4C163D24E39}"/>
              </a:ext>
            </a:extLst>
          </p:cNvPr>
          <p:cNvCxnSpPr>
            <a:cxnSpLocks/>
          </p:cNvCxnSpPr>
          <p:nvPr/>
        </p:nvCxnSpPr>
        <p:spPr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606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5</TotalTime>
  <Words>121</Words>
  <Application>Microsoft Office PowerPoint</Application>
  <PresentationFormat>宽屏</PresentationFormat>
  <Paragraphs>28</Paragraphs>
  <Slides>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Arial</vt:lpstr>
      <vt:lpstr>Calibri</vt:lpstr>
      <vt:lpstr>Segoe UI</vt:lpstr>
      <vt:lpstr>Segoe UI Light</vt:lpstr>
      <vt:lpstr>Office Theme</vt:lpstr>
      <vt:lpstr>think-cell Slide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MMU部分</vt:lpstr>
      <vt:lpstr>交叉编译与上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震宇 薄</cp:lastModifiedBy>
  <cp:revision>238</cp:revision>
  <dcterms:created xsi:type="dcterms:W3CDTF">2019-08-16T12:08:31Z</dcterms:created>
  <dcterms:modified xsi:type="dcterms:W3CDTF">2024-07-04T15:23:23Z</dcterms:modified>
</cp:coreProperties>
</file>